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4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3.xml" ContentType="application/vnd.openxmlformats-officedocument.presentationml.tags+xml"/>
  <Override PartName="/ppt/notesSlides/notesSlide24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0" r:id="rId25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49.xml" Id="rId25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9.xml.rels>&#65279;<?xml version="1.0" encoding="utf-8"?><Relationships xmlns="http://schemas.openxmlformats.org/package/2006/relationships"><Relationship Type="http://schemas.openxmlformats.org/officeDocument/2006/relationships/slide" Target="/ppt/slides/slide249.xml" Id="rId2" /><Relationship Type="http://schemas.openxmlformats.org/officeDocument/2006/relationships/notesMaster" Target="/ppt/notesMasters/notesMaster1.xml" Id="rId1" /></Relationships>
</file>

<file path=ppt/notesSlides/notesSlide2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20649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3.xml" Id="rId2" /><Relationship Type="http://schemas.openxmlformats.org/officeDocument/2006/relationships/vmlDrawing" Target="/ppt/drawings/vmlDrawing25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3.bin" Id="rId5" /><Relationship Type="http://schemas.openxmlformats.org/officeDocument/2006/relationships/notesSlide" Target="/ppt/notesSlides/notesSlide249.xml" Id="rId4" /></Relationships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60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Newsflash</a:t>
            </a:r>
          </a:p>
        </p:txBody>
      </p:sp>
      <p:sp>
        <p:nvSpPr>
          <p:cNvPr id="2" name="Rechteck 58">
            <a:extLst>
              <a:ext uri="{FF2B5EF4-FFF2-40B4-BE49-F238E27FC236}">
                <a16:creationId xmlns:a16="http://schemas.microsoft.com/office/drawing/2014/main" id="{D0A27239-98B7-41A7-3693-C352E5AD91BF}"/>
              </a:ext>
            </a:extLst>
          </p:cNvPr>
          <p:cNvSpPr>
            <a:spLocks/>
          </p:cNvSpPr>
          <p:nvPr/>
        </p:nvSpPr>
        <p:spPr>
          <a:xfrm>
            <a:off x="0" y="4545725"/>
            <a:ext cx="12192000" cy="154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97E15F7-C756-CE69-856F-27AEA736A8AE}"/>
              </a:ext>
            </a:extLst>
          </p:cNvPr>
          <p:cNvGrpSpPr>
            <a:grpSpLocks/>
          </p:cNvGrpSpPr>
          <p:nvPr/>
        </p:nvGrpSpPr>
        <p:grpSpPr>
          <a:xfrm>
            <a:off x="2866958" y="1160463"/>
            <a:ext cx="6458084" cy="4810442"/>
            <a:chOff x="2827956" y="1102360"/>
            <a:chExt cx="6536088" cy="4868545"/>
          </a:xfrm>
        </p:grpSpPr>
        <p:grpSp>
          <p:nvGrpSpPr>
            <p:cNvPr id="3" name="Gruppieren 51">
              <a:extLst>
                <a:ext uri="{FF2B5EF4-FFF2-40B4-BE49-F238E27FC236}">
                  <a16:creationId xmlns:a16="http://schemas.microsoft.com/office/drawing/2014/main" id="{C4E362F8-AE96-1C6C-24BD-FB1B8ABE513D}"/>
                </a:ext>
              </a:extLst>
            </p:cNvPr>
            <p:cNvGrpSpPr>
              <a:grpSpLocks/>
            </p:cNvGrpSpPr>
            <p:nvPr/>
          </p:nvGrpSpPr>
          <p:grpSpPr>
            <a:xfrm>
              <a:off x="5544119" y="5131272"/>
              <a:ext cx="1103764" cy="785366"/>
              <a:chOff x="5689800" y="4456901"/>
              <a:chExt cx="581207" cy="413549"/>
            </a:xfrm>
          </p:grpSpPr>
          <p:sp>
            <p:nvSpPr>
              <p:cNvPr id="4" name="Trapezoid 3">
                <a:extLst>
                  <a:ext uri="{FF2B5EF4-FFF2-40B4-BE49-F238E27FC236}">
                    <a16:creationId xmlns:a16="http://schemas.microsoft.com/office/drawing/2014/main" id="{FFC9C7A5-C8C0-31B8-D5ED-826335552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9800" y="4456901"/>
                <a:ext cx="553212" cy="413549"/>
              </a:xfrm>
              <a:prstGeom prst="trapezoid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" name="Freihandform: Form 54">
                <a:extLst>
                  <a:ext uri="{FF2B5EF4-FFF2-40B4-BE49-F238E27FC236}">
                    <a16:creationId xmlns:a16="http://schemas.microsoft.com/office/drawing/2014/main" id="{F526F87E-244F-8336-C13F-4966CB2EB80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5837908" y="4437351"/>
                <a:ext cx="413549" cy="452649"/>
              </a:xfrm>
              <a:custGeom>
                <a:avLst/>
                <a:gdLst>
                  <a:gd name="connsiteX0" fmla="*/ 413549 w 413549"/>
                  <a:gd name="connsiteY0" fmla="*/ 2824 h 452649"/>
                  <a:gd name="connsiteX1" fmla="*/ 413549 w 413549"/>
                  <a:gd name="connsiteY1" fmla="*/ 349262 h 452649"/>
                  <a:gd name="connsiteX2" fmla="*/ 0 w 413549"/>
                  <a:gd name="connsiteY2" fmla="*/ 452649 h 452649"/>
                  <a:gd name="connsiteX3" fmla="*/ 0 w 413549"/>
                  <a:gd name="connsiteY3" fmla="*/ 336273 h 452649"/>
                  <a:gd name="connsiteX4" fmla="*/ 402253 w 413549"/>
                  <a:gd name="connsiteY4" fmla="*/ 0 h 452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549" h="452649">
                    <a:moveTo>
                      <a:pt x="413549" y="2824"/>
                    </a:moveTo>
                    <a:lnTo>
                      <a:pt x="413549" y="349262"/>
                    </a:lnTo>
                    <a:lnTo>
                      <a:pt x="0" y="452649"/>
                    </a:lnTo>
                    <a:lnTo>
                      <a:pt x="0" y="336273"/>
                    </a:lnTo>
                    <a:lnTo>
                      <a:pt x="402253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Rechteck: abgerundete Ecken 52">
              <a:extLst>
                <a:ext uri="{FF2B5EF4-FFF2-40B4-BE49-F238E27FC236}">
                  <a16:creationId xmlns:a16="http://schemas.microsoft.com/office/drawing/2014/main" id="{57CDDB11-4AAE-4534-E8BB-12DA4A91E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072" y="5868401"/>
              <a:ext cx="2007857" cy="102504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hteck: obere Ecken abgerundet 49">
              <a:extLst>
                <a:ext uri="{FF2B5EF4-FFF2-40B4-BE49-F238E27FC236}">
                  <a16:creationId xmlns:a16="http://schemas.microsoft.com/office/drawing/2014/main" id="{6970885E-6A41-2B2B-7467-C30424189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956" y="1102360"/>
              <a:ext cx="6536088" cy="3717258"/>
            </a:xfrm>
            <a:prstGeom prst="round2SameRect">
              <a:avLst>
                <a:gd name="adj1" fmla="val 1738"/>
                <a:gd name="adj2" fmla="val 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hteck: obere Ecken abgerundet 50">
              <a:extLst>
                <a:ext uri="{FF2B5EF4-FFF2-40B4-BE49-F238E27FC236}">
                  <a16:creationId xmlns:a16="http://schemas.microsoft.com/office/drawing/2014/main" id="{3117180E-30FA-9DA5-2737-ED67DF3437F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2827956" y="4819614"/>
              <a:ext cx="6536088" cy="550665"/>
            </a:xfrm>
            <a:prstGeom prst="round2SameRect">
              <a:avLst>
                <a:gd name="adj1" fmla="val 22172"/>
                <a:gd name="adj2" fmla="val 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hteck 6">
              <a:extLst>
                <a:ext uri="{FF2B5EF4-FFF2-40B4-BE49-F238E27FC236}">
                  <a16:creationId xmlns:a16="http://schemas.microsoft.com/office/drawing/2014/main" id="{178C4248-F52A-E651-2DCA-2A5259497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1" y="1337995"/>
              <a:ext cx="6114016" cy="32496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CEA43A9-1209-7D62-C5AF-2F6CA426967F}"/>
              </a:ext>
            </a:extLst>
          </p:cNvPr>
          <p:cNvGrpSpPr>
            <a:grpSpLocks/>
          </p:cNvGrpSpPr>
          <p:nvPr/>
        </p:nvGrpSpPr>
        <p:grpSpPr>
          <a:xfrm>
            <a:off x="3075473" y="1389159"/>
            <a:ext cx="6041048" cy="3212912"/>
            <a:chOff x="3038990" y="1333818"/>
            <a:chExt cx="6114015" cy="3251719"/>
          </a:xfrm>
        </p:grpSpPr>
        <p:sp>
          <p:nvSpPr>
            <p:cNvPr id="19" name="Rechteck 44">
              <a:extLst>
                <a:ext uri="{FF2B5EF4-FFF2-40B4-BE49-F238E27FC236}">
                  <a16:creationId xmlns:a16="http://schemas.microsoft.com/office/drawing/2014/main" id="{586DDE27-6CCE-8FA8-001E-EB0B06D82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0" y="1492615"/>
              <a:ext cx="6114015" cy="3092922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65000">
                  <a:schemeClr val="bg1"/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Rechteck 45">
              <a:extLst>
                <a:ext uri="{FF2B5EF4-FFF2-40B4-BE49-F238E27FC236}">
                  <a16:creationId xmlns:a16="http://schemas.microsoft.com/office/drawing/2014/main" id="{901CB90B-A92D-BA25-0D57-1FE608862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0" y="1646616"/>
              <a:ext cx="6114015" cy="1587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3B8617B-1D5C-21B5-6FBB-F22B78CD955C}"/>
                </a:ext>
              </a:extLst>
            </p:cNvPr>
            <p:cNvGrpSpPr>
              <a:grpSpLocks/>
            </p:cNvGrpSpPr>
            <p:nvPr/>
          </p:nvGrpSpPr>
          <p:grpSpPr>
            <a:xfrm>
              <a:off x="3038990" y="1333818"/>
              <a:ext cx="6114015" cy="158797"/>
              <a:chOff x="3038990" y="1333818"/>
              <a:chExt cx="6114015" cy="158797"/>
            </a:xfrm>
          </p:grpSpPr>
          <p:sp>
            <p:nvSpPr>
              <p:cNvPr id="22" name="Rechteck 47">
                <a:extLst>
                  <a:ext uri="{FF2B5EF4-FFF2-40B4-BE49-F238E27FC236}">
                    <a16:creationId xmlns:a16="http://schemas.microsoft.com/office/drawing/2014/main" id="{B9754872-4C73-AAFE-0B91-FE81E777F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990" y="1333818"/>
                <a:ext cx="6114015" cy="15879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Trapezoid 22">
                <a:extLst>
                  <a:ext uri="{FF2B5EF4-FFF2-40B4-BE49-F238E27FC236}">
                    <a16:creationId xmlns:a16="http://schemas.microsoft.com/office/drawing/2014/main" id="{E57B949C-FF7D-9CC4-5ED9-A2847E831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4687" y="1333818"/>
                <a:ext cx="721261" cy="158797"/>
              </a:xfrm>
              <a:prstGeom prst="trapezoid">
                <a:avLst>
                  <a:gd name="adj" fmla="val 36024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40">
              <a:extLst>
                <a:ext uri="{FF2B5EF4-FFF2-40B4-BE49-F238E27FC236}">
                  <a16:creationId xmlns:a16="http://schemas.microsoft.com/office/drawing/2014/main" id="{7791A2D7-5991-8C47-3DE5-27E28B011638}"/>
                </a:ext>
              </a:extLst>
            </p:cNvPr>
            <p:cNvGrpSpPr>
              <a:grpSpLocks/>
            </p:cNvGrpSpPr>
            <p:nvPr/>
          </p:nvGrpSpPr>
          <p:grpSpPr>
            <a:xfrm>
              <a:off x="3081009" y="1536329"/>
              <a:ext cx="243036" cy="67223"/>
              <a:chOff x="5276850" y="935831"/>
              <a:chExt cx="335757" cy="92869"/>
            </a:xfrm>
          </p:grpSpPr>
          <p:sp>
            <p:nvSpPr>
              <p:cNvPr id="16" name="Ellipse 41">
                <a:extLst>
                  <a:ext uri="{FF2B5EF4-FFF2-40B4-BE49-F238E27FC236}">
                    <a16:creationId xmlns:a16="http://schemas.microsoft.com/office/drawing/2014/main" id="{8EA04238-882F-1F55-5C3C-B51A25883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850" y="935831"/>
                <a:ext cx="92869" cy="92869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Ellipse 42">
                <a:extLst>
                  <a:ext uri="{FF2B5EF4-FFF2-40B4-BE49-F238E27FC236}">
                    <a16:creationId xmlns:a16="http://schemas.microsoft.com/office/drawing/2014/main" id="{23E84972-8768-53DA-EB59-04C4BB966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8293" y="935831"/>
                <a:ext cx="92869" cy="9286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Ellipse 43">
                <a:extLst>
                  <a:ext uri="{FF2B5EF4-FFF2-40B4-BE49-F238E27FC236}">
                    <a16:creationId xmlns:a16="http://schemas.microsoft.com/office/drawing/2014/main" id="{2F8050BF-D5DF-CC35-37F9-16A5D41B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738" y="935831"/>
                <a:ext cx="92869" cy="9286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639B529-94D6-5CFC-8881-10DB3AD5C2A3}"/>
              </a:ext>
            </a:extLst>
          </p:cNvPr>
          <p:cNvGrpSpPr>
            <a:grpSpLocks/>
          </p:cNvGrpSpPr>
          <p:nvPr/>
        </p:nvGrpSpPr>
        <p:grpSpPr>
          <a:xfrm>
            <a:off x="4296963" y="2145664"/>
            <a:ext cx="3598074" cy="2084080"/>
            <a:chOff x="3365167" y="2145664"/>
            <a:chExt cx="3598074" cy="2084080"/>
          </a:xfrm>
        </p:grpSpPr>
        <p:sp>
          <p:nvSpPr>
            <p:cNvPr id="24" name="Textplatzhalter 9">
              <a:extLst>
                <a:ext uri="{FF2B5EF4-FFF2-40B4-BE49-F238E27FC236}">
                  <a16:creationId xmlns:a16="http://schemas.microsoft.com/office/drawing/2014/main" id="{048C9CAB-EF5E-8304-483F-3A1352DF40C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65167" y="2145664"/>
              <a:ext cx="3436281" cy="274578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</p:spPr>
          <p:txBody>
            <a:bodyPr vert="horz" wrap="square" lIns="100617" tIns="33539" rIns="100617" bIns="33539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>
                  <a:solidFill>
                    <a:schemeClr val="bg1"/>
                  </a:solidFill>
                </a:rPr>
                <a:t>+++ Lorem ipsum dolor sit </a:t>
              </a:r>
              <a:r>
                <a:rPr lang="en-US" sz="1304" err="1">
                  <a:solidFill>
                    <a:schemeClr val="bg1"/>
                  </a:solidFill>
                </a:rPr>
                <a:t>amet</a:t>
              </a:r>
              <a:r>
                <a:rPr lang="en-US" sz="1304">
                  <a:solidFill>
                    <a:schemeClr val="bg1"/>
                  </a:solidFill>
                </a:rPr>
                <a:t>, </a:t>
              </a:r>
              <a:r>
                <a:rPr lang="en-US" sz="1304" err="1">
                  <a:solidFill>
                    <a:schemeClr val="bg1"/>
                  </a:solidFill>
                </a:rPr>
                <a:t>consetetur</a:t>
              </a:r>
              <a:endParaRPr lang="en-US" sz="1304">
                <a:solidFill>
                  <a:schemeClr val="bg1"/>
                </a:solidFill>
              </a:endParaRPr>
            </a:p>
          </p:txBody>
        </p:sp>
        <p:sp>
          <p:nvSpPr>
            <p:cNvPr id="25" name="Textplatzhalter 9">
              <a:extLst>
                <a:ext uri="{FF2B5EF4-FFF2-40B4-BE49-F238E27FC236}">
                  <a16:creationId xmlns:a16="http://schemas.microsoft.com/office/drawing/2014/main" id="{653E3415-AF96-3B49-0706-EDFF162D51A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65167" y="2495520"/>
              <a:ext cx="3103072" cy="274578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</p:spPr>
          <p:txBody>
            <a:bodyPr vert="horz" wrap="square" lIns="100617" tIns="33539" rIns="100617" bIns="33539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 err="1">
                  <a:solidFill>
                    <a:schemeClr val="bg1"/>
                  </a:solidFill>
                </a:rPr>
                <a:t>sadipscing</a:t>
              </a:r>
              <a:r>
                <a:rPr lang="en-US" sz="1304">
                  <a:solidFill>
                    <a:schemeClr val="bg1"/>
                  </a:solidFill>
                </a:rPr>
                <a:t> </a:t>
              </a:r>
              <a:r>
                <a:rPr lang="en-US" sz="1304" err="1">
                  <a:solidFill>
                    <a:schemeClr val="bg1"/>
                  </a:solidFill>
                </a:rPr>
                <a:t>elitr</a:t>
              </a:r>
              <a:r>
                <a:rPr lang="en-US" sz="1304">
                  <a:solidFill>
                    <a:schemeClr val="bg1"/>
                  </a:solidFill>
                </a:rPr>
                <a:t>, sed diam </a:t>
              </a:r>
              <a:r>
                <a:rPr lang="en-US" sz="1304" err="1">
                  <a:solidFill>
                    <a:schemeClr val="bg1"/>
                  </a:solidFill>
                </a:rPr>
                <a:t>nonumy</a:t>
              </a:r>
              <a:r>
                <a:rPr lang="en-US" sz="1304">
                  <a:solidFill>
                    <a:schemeClr val="bg1"/>
                  </a:solidFill>
                </a:rPr>
                <a:t> +++ </a:t>
              </a:r>
            </a:p>
          </p:txBody>
        </p:sp>
        <p:sp>
          <p:nvSpPr>
            <p:cNvPr id="26" name="Textplatzhalter 9">
              <a:extLst>
                <a:ext uri="{FF2B5EF4-FFF2-40B4-BE49-F238E27FC236}">
                  <a16:creationId xmlns:a16="http://schemas.microsoft.com/office/drawing/2014/main" id="{6BA07617-E11E-A9CA-A7E1-81F74D2CD9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97988" y="3144584"/>
              <a:ext cx="2065253" cy="1007808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/>
                <a:t>Lorem ipsum dolor sit </a:t>
              </a:r>
              <a:r>
                <a:rPr lang="en-US" sz="1304" err="1"/>
                <a:t>amet</a:t>
              </a:r>
              <a:r>
                <a:rPr lang="en-US" sz="1304"/>
                <a:t>, </a:t>
              </a:r>
              <a:r>
                <a:rPr lang="en-US" sz="1304" err="1"/>
                <a:t>consetetur</a:t>
              </a:r>
              <a:r>
                <a:rPr lang="en-US" sz="1304"/>
                <a:t> </a:t>
              </a:r>
              <a:r>
                <a:rPr lang="en-US" sz="1304" err="1"/>
                <a:t>sadipscing</a:t>
              </a:r>
              <a:r>
                <a:rPr lang="en-US" sz="1304"/>
                <a:t> </a:t>
              </a:r>
              <a:r>
                <a:rPr lang="en-US" sz="1304" err="1"/>
                <a:t>elitr</a:t>
              </a:r>
              <a:r>
                <a:rPr lang="en-US" sz="1304"/>
                <a:t>, sed diam </a:t>
              </a:r>
              <a:r>
                <a:rPr lang="en-US" sz="1304" err="1"/>
                <a:t>nonumy</a:t>
              </a:r>
              <a:r>
                <a:rPr lang="en-US" sz="1304"/>
                <a:t> </a:t>
              </a:r>
              <a:r>
                <a:rPr lang="en-US" sz="1304" err="1"/>
                <a:t>eirmod</a:t>
              </a:r>
              <a:r>
                <a:rPr lang="en-US" sz="1304"/>
                <a:t> </a:t>
              </a:r>
              <a:r>
                <a:rPr lang="en-US" sz="1304" err="1"/>
                <a:t>tempor</a:t>
              </a:r>
              <a:r>
                <a:rPr lang="en-US" sz="1304"/>
                <a:t> </a:t>
              </a:r>
              <a:r>
                <a:rPr lang="en-US" sz="1304" err="1"/>
                <a:t>invidunt</a:t>
              </a:r>
              <a:r>
                <a:rPr lang="en-US" sz="1304"/>
                <a:t> </a:t>
              </a:r>
              <a:r>
                <a:rPr lang="en-US" sz="1304" err="1"/>
                <a:t>ut</a:t>
              </a:r>
              <a:r>
                <a:rPr lang="en-US" sz="1304"/>
                <a:t> labore et dolore magna </a:t>
              </a:r>
              <a:r>
                <a:rPr lang="en-US" sz="1304" err="1"/>
                <a:t>aliquyam</a:t>
              </a:r>
              <a:endParaRPr lang="en-US" sz="1304">
                <a:solidFill>
                  <a:schemeClr val="accent1"/>
                </a:solidFill>
              </a:endParaRPr>
            </a:p>
          </p:txBody>
        </p:sp>
        <p:sp>
          <p:nvSpPr>
            <p:cNvPr id="27" name="Rechteck 68">
              <a:extLst>
                <a:ext uri="{FF2B5EF4-FFF2-40B4-BE49-F238E27FC236}">
                  <a16:creationId xmlns:a16="http://schemas.microsoft.com/office/drawing/2014/main" id="{023098D1-06B8-3687-723F-BB7A3D8C9580}"/>
                </a:ext>
              </a:extLst>
            </p:cNvPr>
            <p:cNvSpPr>
              <a:spLocks/>
            </p:cNvSpPr>
            <p:nvPr/>
          </p:nvSpPr>
          <p:spPr>
            <a:xfrm>
              <a:off x="3365167" y="3067230"/>
              <a:ext cx="1287284" cy="1162514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189" tIns="42595" rIns="85189" bIns="42595" rtlCol="0" anchor="ctr"/>
            <a:lstStyle/>
            <a:p>
              <a:pPr algn="ctr"/>
              <a:r>
                <a:rPr lang="en-US" sz="1677" cap="all" spc="100">
                  <a:solidFill>
                    <a:schemeClr val="accent5"/>
                  </a:solidFill>
                </a:rPr>
                <a:t>IMAGE</a:t>
              </a:r>
            </a:p>
          </p:txBody>
        </p:sp>
      </p:grpSp>
      <p:sp>
        <p:nvSpPr>
          <p:cNvPr id="28" name="Rechteck 59">
            <a:extLst>
              <a:ext uri="{FF2B5EF4-FFF2-40B4-BE49-F238E27FC236}">
                <a16:creationId xmlns:a16="http://schemas.microsoft.com/office/drawing/2014/main" id="{B4107BE0-9EBA-FBB8-07EF-E463305F545B}"/>
              </a:ext>
            </a:extLst>
          </p:cNvPr>
          <p:cNvSpPr>
            <a:spLocks/>
          </p:cNvSpPr>
          <p:nvPr/>
        </p:nvSpPr>
        <p:spPr>
          <a:xfrm>
            <a:off x="0" y="5970905"/>
            <a:ext cx="12192000" cy="1219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3CFB82AA-28CC-A237-622D-FC0DE179958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531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mputer, computers, screen, screens, news, internet, web, browser</a:t>
            </a:r>
          </a:p>
        </p:txBody>
      </p:sp>
    </p:spTree>
    <p:extLst>
      <p:ext uri="{BB962C8B-B14F-4D97-AF65-F5344CB8AC3E}">
        <p14:creationId xmlns:p14="http://schemas.microsoft.com/office/powerpoint/2010/main" val="1017308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